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</p:sldMasterIdLst>
  <p:notesMasterIdLst>
    <p:notesMasterId r:id="rId15"/>
  </p:notesMasterIdLst>
  <p:sldIdLst>
    <p:sldId id="274" r:id="rId3"/>
    <p:sldId id="256" r:id="rId4"/>
    <p:sldId id="278" r:id="rId5"/>
    <p:sldId id="279" r:id="rId6"/>
    <p:sldId id="281" r:id="rId7"/>
    <p:sldId id="263" r:id="rId8"/>
    <p:sldId id="284" r:id="rId9"/>
    <p:sldId id="285" r:id="rId10"/>
    <p:sldId id="288" r:id="rId11"/>
    <p:sldId id="267" r:id="rId12"/>
    <p:sldId id="269" r:id="rId13"/>
    <p:sldId id="270" r:id="rId14"/>
  </p:sldIdLst>
  <p:sldSz cx="9144000" cy="5143500" type="screen16x9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5050"/>
    <a:srgbClr val="990099"/>
    <a:srgbClr val="FF4370"/>
    <a:srgbClr val="FE9202"/>
    <a:srgbClr val="FFF3E7"/>
    <a:srgbClr val="5EEC3C"/>
    <a:srgbClr val="FFDC47"/>
    <a:srgbClr val="CCCC00"/>
    <a:srgbClr val="FFCC66"/>
    <a:srgbClr val="0070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>
      <p:cViewPr varScale="1">
        <p:scale>
          <a:sx n="99" d="100"/>
          <a:sy n="99" d="100"/>
        </p:scale>
        <p:origin x="570" y="-36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152705" cy="152705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29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Lekha\Downloads\New%20Microsoft%20Excel%20Worksheet_NP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r>
              <a:rPr lang="en-IN" sz="1200" dirty="0"/>
              <a:t>Comparison of Cross Val Scores</a:t>
            </a:r>
          </a:p>
        </c:rich>
      </c:tx>
      <c:layout>
        <c:manualLayout>
          <c:xMode val="edge"/>
          <c:yMode val="edge"/>
          <c:x val="0.26929881979423526"/>
          <c:y val="1.3991499932849334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[New Microsoft Excel Worksheet_NP.xlsx]Sheet2'!$B$50</c:f>
              <c:strCache>
                <c:ptCount val="1"/>
                <c:pt idx="0">
                  <c:v>Cross Validation Score(Unbalanced)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[New Microsoft Excel Worksheet_NP.xlsx]Sheet2'!$A$51:$A$56</c:f>
              <c:strCache>
                <c:ptCount val="6"/>
                <c:pt idx="0">
                  <c:v>Logistic Regression</c:v>
                </c:pt>
                <c:pt idx="1">
                  <c:v>Decision Tree</c:v>
                </c:pt>
                <c:pt idx="2">
                  <c:v>Random Forest</c:v>
                </c:pt>
                <c:pt idx="3">
                  <c:v>Naïve Bayes</c:v>
                </c:pt>
                <c:pt idx="4">
                  <c:v>Gradient Boost</c:v>
                </c:pt>
                <c:pt idx="5">
                  <c:v>Extreme Gradient Boost</c:v>
                </c:pt>
              </c:strCache>
            </c:strRef>
          </c:cat>
          <c:val>
            <c:numRef>
              <c:f>'[New Microsoft Excel Worksheet_NP.xlsx]Sheet2'!$B$51:$B$56</c:f>
              <c:numCache>
                <c:formatCode>0.00</c:formatCode>
                <c:ptCount val="6"/>
                <c:pt idx="0">
                  <c:v>0.89600000000000002</c:v>
                </c:pt>
                <c:pt idx="1">
                  <c:v>0.83009999999999995</c:v>
                </c:pt>
                <c:pt idx="2">
                  <c:v>0.88149999999999995</c:v>
                </c:pt>
                <c:pt idx="3">
                  <c:v>0.85170000000000001</c:v>
                </c:pt>
                <c:pt idx="4">
                  <c:v>0.8962</c:v>
                </c:pt>
                <c:pt idx="5">
                  <c:v>0.892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832-4F7F-9221-AC11E7DA2B58}"/>
            </c:ext>
          </c:extLst>
        </c:ser>
        <c:ser>
          <c:idx val="1"/>
          <c:order val="1"/>
          <c:tx>
            <c:strRef>
              <c:f>'[New Microsoft Excel Worksheet_NP.xlsx]Sheet2'!$C$50</c:f>
              <c:strCache>
                <c:ptCount val="1"/>
                <c:pt idx="0">
                  <c:v>Cross Validation Score(Balanced)</c:v>
                </c:pt>
              </c:strCache>
            </c:strRef>
          </c:tx>
          <c:spPr>
            <a:solidFill>
              <a:schemeClr val="accent6"/>
            </a:solidFill>
            <a:ln w="38100" cap="flat" cmpd="sng" algn="ctr">
              <a:solidFill>
                <a:schemeClr val="lt1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[New Microsoft Excel Worksheet_NP.xlsx]Sheet2'!$A$51:$A$56</c:f>
              <c:strCache>
                <c:ptCount val="6"/>
                <c:pt idx="0">
                  <c:v>Logistic Regression</c:v>
                </c:pt>
                <c:pt idx="1">
                  <c:v>Decision Tree</c:v>
                </c:pt>
                <c:pt idx="2">
                  <c:v>Random Forest</c:v>
                </c:pt>
                <c:pt idx="3">
                  <c:v>Naïve Bayes</c:v>
                </c:pt>
                <c:pt idx="4">
                  <c:v>Gradient Boost</c:v>
                </c:pt>
                <c:pt idx="5">
                  <c:v>Extreme Gradient Boost</c:v>
                </c:pt>
              </c:strCache>
            </c:strRef>
          </c:cat>
          <c:val>
            <c:numRef>
              <c:f>'[New Microsoft Excel Worksheet_NP.xlsx]Sheet2'!$C$51:$C$56</c:f>
              <c:numCache>
                <c:formatCode>0.00</c:formatCode>
                <c:ptCount val="6"/>
                <c:pt idx="0">
                  <c:v>0.94059999999999999</c:v>
                </c:pt>
                <c:pt idx="1">
                  <c:v>0.91779999999999995</c:v>
                </c:pt>
                <c:pt idx="2">
                  <c:v>0.94320000000000004</c:v>
                </c:pt>
                <c:pt idx="3">
                  <c:v>0.70489999999999997</c:v>
                </c:pt>
                <c:pt idx="4">
                  <c:v>0.90959999999999996</c:v>
                </c:pt>
                <c:pt idx="5">
                  <c:v>0.9331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832-4F7F-9221-AC11E7DA2B58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-24"/>
        <c:axId val="1209578767"/>
        <c:axId val="1209562127"/>
      </c:barChart>
      <c:catAx>
        <c:axId val="120957876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09562127"/>
        <c:crosses val="autoZero"/>
        <c:auto val="1"/>
        <c:lblAlgn val="ctr"/>
        <c:lblOffset val="100"/>
        <c:noMultiLvlLbl val="0"/>
      </c:catAx>
      <c:valAx>
        <c:axId val="120956212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2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IN" dirty="0" smtClean="0"/>
                  <a:t>Accuracy</a:t>
                </a:r>
                <a:endParaRPr lang="en-IN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900" b="1" i="0" u="none" strike="noStrike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09578767"/>
        <c:crosses val="autoZero"/>
        <c:crossBetween val="between"/>
        <c:majorUnit val="0.5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7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  <a:lumOff val="2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0759B3-20ED-419A-A77D-71AE35F06108}" type="datetimeFigureOut">
              <a:rPr lang="en-US" smtClean="0"/>
              <a:t>6/13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263AF9A-6E76-4CCC-89CF-B04065708FB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21681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281425" y="1655520"/>
            <a:ext cx="6260905" cy="1527050"/>
          </a:xfr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rmAutofit/>
          </a:bodyPr>
          <a:lstStyle>
            <a:lvl1pPr algn="r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48964" y="3793390"/>
            <a:ext cx="8093365" cy="610820"/>
          </a:xfrm>
        </p:spPr>
        <p:txBody>
          <a:bodyPr>
            <a:normAutofit/>
          </a:bodyPr>
          <a:lstStyle>
            <a:lvl1pPr marL="0" indent="0" algn="r">
              <a:buNone/>
              <a:defRPr sz="2800" b="0" i="0">
                <a:solidFill>
                  <a:srgbClr val="0070C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18D98E-A9DE-46B8-B9C0-1A8742E720AD}" type="datetime1">
              <a:rPr lang="en-US" smtClean="0"/>
              <a:t>6/13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CCC60-E8CD-4174-8B1A-7DF615B22E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387517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0EF62A-EF8B-4268-97C3-9A8256E45F47}" type="datetime1">
              <a:rPr lang="en-US" smtClean="0"/>
              <a:t>6/13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CCC60-E8CD-4174-8B1A-7DF615B22E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760784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45B706-1723-45D0-878B-6313510D66B9}" type="datetime1">
              <a:rPr lang="en-US" smtClean="0"/>
              <a:t>6/13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CCC60-E8CD-4174-8B1A-7DF615B22E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86657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3F5B75-8397-4E2C-BC4B-DB611E82EB10}" type="datetime1">
              <a:rPr lang="en-US" smtClean="0"/>
              <a:t>6/13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CCC60-E8CD-4174-8B1A-7DF615B22EE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6" descr="E:\websites\free-power-point-templates\2012\logos.png">
            <a:extLst>
              <a:ext uri="{FF2B5EF4-FFF2-40B4-BE49-F238E27FC236}">
                <a16:creationId xmlns:a16="http://schemas.microsoft.com/office/drawing/2014/main" id="{C1B04D13-C884-4E4D-85F8-5A1F19D648D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918306" y="2326213"/>
            <a:ext cx="1463784" cy="5269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9360994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281425" y="1655520"/>
            <a:ext cx="6260905" cy="1527050"/>
          </a:xfr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rmAutofit/>
          </a:bodyPr>
          <a:lstStyle>
            <a:lvl1pPr algn="r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48964" y="3793390"/>
            <a:ext cx="8093365" cy="610820"/>
          </a:xfrm>
        </p:spPr>
        <p:txBody>
          <a:bodyPr>
            <a:normAutofit/>
          </a:bodyPr>
          <a:lstStyle>
            <a:lvl1pPr marL="0" indent="0" algn="r">
              <a:buNone/>
              <a:defRPr sz="2800" b="0" i="0">
                <a:solidFill>
                  <a:srgbClr val="0070C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C9B66B-F40C-4471-9B32-E8B0F9309E6B}" type="datetime1">
              <a:rPr lang="en-US" smtClean="0"/>
              <a:t>6/13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CCC60-E8CD-4174-8B1A-7DF615B22E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493252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8965" y="281175"/>
            <a:ext cx="8246070" cy="610820"/>
          </a:xfrm>
        </p:spPr>
        <p:txBody>
          <a:bodyPr>
            <a:normAutofit/>
          </a:bodyPr>
          <a:lstStyle>
            <a:lvl1pPr algn="r">
              <a:defRPr sz="3600" baseline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8966" y="1197405"/>
            <a:ext cx="8246070" cy="3512210"/>
          </a:xfrm>
        </p:spPr>
        <p:txBody>
          <a:bodyPr/>
          <a:lstStyle>
            <a:lvl1pPr algn="l">
              <a:defRPr sz="2800">
                <a:solidFill>
                  <a:srgbClr val="002060"/>
                </a:solidFill>
              </a:defRPr>
            </a:lvl1pPr>
            <a:lvl2pPr algn="l">
              <a:defRPr>
                <a:solidFill>
                  <a:srgbClr val="002060"/>
                </a:solidFill>
              </a:defRPr>
            </a:lvl2pPr>
            <a:lvl3pPr algn="l">
              <a:defRPr>
                <a:solidFill>
                  <a:srgbClr val="002060"/>
                </a:solidFill>
              </a:defRPr>
            </a:lvl3pPr>
            <a:lvl4pPr algn="l">
              <a:defRPr>
                <a:solidFill>
                  <a:srgbClr val="002060"/>
                </a:solidFill>
              </a:defRPr>
            </a:lvl4pPr>
            <a:lvl5pPr algn="l">
              <a:defRPr>
                <a:solidFill>
                  <a:srgbClr val="00206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E41ED3-4750-4AAF-85C7-795E501D5132}" type="datetime1">
              <a:rPr lang="en-US" smtClean="0"/>
              <a:t>6/13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CCC60-E8CD-4174-8B1A-7DF615B22E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442940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34130" y="433880"/>
            <a:ext cx="6260905" cy="572644"/>
          </a:xfrm>
        </p:spPr>
        <p:txBody>
          <a:bodyPr>
            <a:normAutofit/>
          </a:bodyPr>
          <a:lstStyle>
            <a:lvl1pPr algn="l">
              <a:defRPr sz="3600">
                <a:solidFill>
                  <a:srgbClr val="0070C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434130" y="1197406"/>
            <a:ext cx="6260905" cy="3358356"/>
          </a:xfrm>
        </p:spPr>
        <p:txBody>
          <a:bodyPr/>
          <a:lstStyle>
            <a:lvl1pPr>
              <a:defRPr sz="2800">
                <a:solidFill>
                  <a:srgbClr val="002060"/>
                </a:solidFill>
              </a:defRPr>
            </a:lvl1pPr>
            <a:lvl2pPr>
              <a:defRPr>
                <a:solidFill>
                  <a:srgbClr val="002060"/>
                </a:solidFill>
              </a:defRPr>
            </a:lvl2pPr>
            <a:lvl3pPr>
              <a:defRPr>
                <a:solidFill>
                  <a:srgbClr val="002060"/>
                </a:solidFill>
              </a:defRPr>
            </a:lvl3pPr>
            <a:lvl4pPr>
              <a:defRPr>
                <a:solidFill>
                  <a:srgbClr val="002060"/>
                </a:solidFill>
              </a:defRPr>
            </a:lvl4pPr>
            <a:lvl5pPr>
              <a:defRPr>
                <a:solidFill>
                  <a:srgbClr val="00206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A23B17-F507-4416-BA8A-33232556AA01}" type="datetime1">
              <a:rPr lang="en-US" smtClean="0"/>
              <a:t>6/13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CCC60-E8CD-4174-8B1A-7DF615B22E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514612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693481-F335-42F2-90B9-0573485A43E9}" type="datetime1">
              <a:rPr lang="en-US" smtClean="0"/>
              <a:t>6/13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CCC60-E8CD-4174-8B1A-7DF615B22E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88472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FEF165-71A6-4C8D-AE24-691D619F052B}" type="datetime1">
              <a:rPr lang="en-US" smtClean="0"/>
              <a:t>6/13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CCC60-E8CD-4174-8B1A-7DF615B22E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813530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8964" y="281175"/>
            <a:ext cx="8246071" cy="610820"/>
          </a:xfrm>
        </p:spPr>
        <p:txBody>
          <a:bodyPr>
            <a:normAutofit/>
          </a:bodyPr>
          <a:lstStyle>
            <a:lvl1pPr algn="r">
              <a:defRPr sz="3600" baseline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6879" y="1655520"/>
            <a:ext cx="4040188" cy="479822"/>
          </a:xfrm>
        </p:spPr>
        <p:txBody>
          <a:bodyPr anchor="b"/>
          <a:lstStyle>
            <a:lvl1pPr marL="0" indent="0" algn="ctr">
              <a:buNone/>
              <a:defRPr sz="2400" b="1">
                <a:solidFill>
                  <a:srgbClr val="002060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36879" y="2266340"/>
            <a:ext cx="4040188" cy="2137871"/>
          </a:xfrm>
        </p:spPr>
        <p:txBody>
          <a:bodyPr/>
          <a:lstStyle>
            <a:lvl1pPr algn="ctr">
              <a:defRPr sz="2400">
                <a:solidFill>
                  <a:srgbClr val="002060"/>
                </a:solidFill>
              </a:defRPr>
            </a:lvl1pPr>
            <a:lvl2pPr algn="ctr">
              <a:defRPr sz="2000">
                <a:solidFill>
                  <a:srgbClr val="002060"/>
                </a:solidFill>
              </a:defRPr>
            </a:lvl2pPr>
            <a:lvl3pPr algn="ctr">
              <a:defRPr sz="1800">
                <a:solidFill>
                  <a:srgbClr val="002060"/>
                </a:solidFill>
              </a:defRPr>
            </a:lvl3pPr>
            <a:lvl4pPr algn="ctr">
              <a:defRPr sz="1600">
                <a:solidFill>
                  <a:srgbClr val="002060"/>
                </a:solidFill>
              </a:defRPr>
            </a:lvl4pPr>
            <a:lvl5pPr algn="ctr">
              <a:defRPr sz="1600">
                <a:solidFill>
                  <a:srgbClr val="002060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72000" y="1655520"/>
            <a:ext cx="4041775" cy="479822"/>
          </a:xfrm>
        </p:spPr>
        <p:txBody>
          <a:bodyPr anchor="b"/>
          <a:lstStyle>
            <a:lvl1pPr marL="0" indent="0" algn="ctr">
              <a:buNone/>
              <a:defRPr sz="2400" b="1">
                <a:solidFill>
                  <a:srgbClr val="002060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72000" y="2266340"/>
            <a:ext cx="4041775" cy="2137871"/>
          </a:xfrm>
        </p:spPr>
        <p:txBody>
          <a:bodyPr/>
          <a:lstStyle>
            <a:lvl1pPr algn="ctr">
              <a:defRPr sz="2400">
                <a:solidFill>
                  <a:srgbClr val="002060"/>
                </a:solidFill>
              </a:defRPr>
            </a:lvl1pPr>
            <a:lvl2pPr algn="ctr">
              <a:defRPr sz="2000">
                <a:solidFill>
                  <a:srgbClr val="002060"/>
                </a:solidFill>
              </a:defRPr>
            </a:lvl2pPr>
            <a:lvl3pPr algn="ctr">
              <a:defRPr sz="1800">
                <a:solidFill>
                  <a:srgbClr val="002060"/>
                </a:solidFill>
              </a:defRPr>
            </a:lvl3pPr>
            <a:lvl4pPr algn="ctr">
              <a:defRPr sz="1600">
                <a:solidFill>
                  <a:srgbClr val="002060"/>
                </a:solidFill>
              </a:defRPr>
            </a:lvl4pPr>
            <a:lvl5pPr algn="ctr">
              <a:defRPr sz="1600">
                <a:solidFill>
                  <a:srgbClr val="002060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F27689-1CC1-4C01-9DC9-3DA35F38EB0C}" type="datetime1">
              <a:rPr lang="en-US" smtClean="0"/>
              <a:t>6/13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CCC60-E8CD-4174-8B1A-7DF615B22E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785421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0FCFED-C2C4-484F-999F-6B094776CB22}" type="datetime1">
              <a:rPr lang="en-US" smtClean="0"/>
              <a:t>6/13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CCC60-E8CD-4174-8B1A-7DF615B22E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90360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8965" y="281175"/>
            <a:ext cx="8246070" cy="610820"/>
          </a:xfrm>
        </p:spPr>
        <p:txBody>
          <a:bodyPr>
            <a:normAutofit/>
          </a:bodyPr>
          <a:lstStyle>
            <a:lvl1pPr algn="r">
              <a:defRPr sz="3600" baseline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8966" y="1197405"/>
            <a:ext cx="8246070" cy="3512210"/>
          </a:xfrm>
        </p:spPr>
        <p:txBody>
          <a:bodyPr/>
          <a:lstStyle>
            <a:lvl1pPr algn="l">
              <a:defRPr sz="2800">
                <a:solidFill>
                  <a:srgbClr val="002060"/>
                </a:solidFill>
              </a:defRPr>
            </a:lvl1pPr>
            <a:lvl2pPr algn="l">
              <a:defRPr>
                <a:solidFill>
                  <a:srgbClr val="002060"/>
                </a:solidFill>
              </a:defRPr>
            </a:lvl2pPr>
            <a:lvl3pPr algn="l">
              <a:defRPr>
                <a:solidFill>
                  <a:srgbClr val="002060"/>
                </a:solidFill>
              </a:defRPr>
            </a:lvl3pPr>
            <a:lvl4pPr algn="l">
              <a:defRPr>
                <a:solidFill>
                  <a:srgbClr val="002060"/>
                </a:solidFill>
              </a:defRPr>
            </a:lvl4pPr>
            <a:lvl5pPr algn="l">
              <a:defRPr>
                <a:solidFill>
                  <a:srgbClr val="00206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C056DE-5345-4EC4-9F7B-9FB55BC71FB0}" type="datetime1">
              <a:rPr lang="en-US" smtClean="0"/>
              <a:t>6/13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CCC60-E8CD-4174-8B1A-7DF615B22E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447136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6223E6-DC77-41CC-8170-49CB9B9D97D9}" type="datetime1">
              <a:rPr lang="en-US" smtClean="0"/>
              <a:t>6/13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CCC60-E8CD-4174-8B1A-7DF615B22E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777690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F66897-54BC-4541-993C-A202370045E3}" type="datetime1">
              <a:rPr lang="en-US" smtClean="0"/>
              <a:t>6/13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CCC60-E8CD-4174-8B1A-7DF615B22E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143598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D81D76-863B-42C0-B12E-1523780340FB}" type="datetime1">
              <a:rPr lang="en-US" smtClean="0"/>
              <a:t>6/13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CCC60-E8CD-4174-8B1A-7DF615B22E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98233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78796F-24C2-455C-A4D1-FF916C56E102}" type="datetime1">
              <a:rPr lang="en-US" smtClean="0"/>
              <a:t>6/13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CCC60-E8CD-4174-8B1A-7DF615B22E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917515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928D6D-8B2E-4C88-B51F-EA0384C3703D}" type="datetime1">
              <a:rPr lang="en-US" smtClean="0"/>
              <a:t>6/13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CCC60-E8CD-4174-8B1A-7DF615B22EE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6" descr="E:\websites\free-power-point-templates\2012\logos.png">
            <a:extLst>
              <a:ext uri="{FF2B5EF4-FFF2-40B4-BE49-F238E27FC236}">
                <a16:creationId xmlns:a16="http://schemas.microsoft.com/office/drawing/2014/main" id="{C1B04D13-C884-4E4D-85F8-5A1F19D648D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918306" y="2326213"/>
            <a:ext cx="1463784" cy="5269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6537483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34130" y="433880"/>
            <a:ext cx="6260905" cy="572644"/>
          </a:xfrm>
        </p:spPr>
        <p:txBody>
          <a:bodyPr>
            <a:normAutofit/>
          </a:bodyPr>
          <a:lstStyle>
            <a:lvl1pPr algn="l">
              <a:defRPr sz="3600">
                <a:solidFill>
                  <a:srgbClr val="0070C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434130" y="1197406"/>
            <a:ext cx="6260905" cy="3358356"/>
          </a:xfrm>
        </p:spPr>
        <p:txBody>
          <a:bodyPr/>
          <a:lstStyle>
            <a:lvl1pPr>
              <a:defRPr sz="2800">
                <a:solidFill>
                  <a:srgbClr val="002060"/>
                </a:solidFill>
              </a:defRPr>
            </a:lvl1pPr>
            <a:lvl2pPr>
              <a:defRPr>
                <a:solidFill>
                  <a:srgbClr val="002060"/>
                </a:solidFill>
              </a:defRPr>
            </a:lvl2pPr>
            <a:lvl3pPr>
              <a:defRPr>
                <a:solidFill>
                  <a:srgbClr val="002060"/>
                </a:solidFill>
              </a:defRPr>
            </a:lvl3pPr>
            <a:lvl4pPr>
              <a:defRPr>
                <a:solidFill>
                  <a:srgbClr val="002060"/>
                </a:solidFill>
              </a:defRPr>
            </a:lvl4pPr>
            <a:lvl5pPr>
              <a:defRPr>
                <a:solidFill>
                  <a:srgbClr val="00206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67A502-29FC-4B3F-BC57-EE351D6F1FC0}" type="datetime1">
              <a:rPr lang="en-US" smtClean="0"/>
              <a:t>6/13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CCC60-E8CD-4174-8B1A-7DF615B22E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939139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EBCEFF-F847-44C7-9335-D1F43F51A0A1}" type="datetime1">
              <a:rPr lang="en-US" smtClean="0"/>
              <a:t>6/13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CCC60-E8CD-4174-8B1A-7DF615B22E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34415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7BAD90-B7C2-41D4-8722-ECCD74CAC578}" type="datetime1">
              <a:rPr lang="en-US" smtClean="0"/>
              <a:t>6/13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CCC60-E8CD-4174-8B1A-7DF615B22E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67918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8964" y="281175"/>
            <a:ext cx="8246071" cy="610820"/>
          </a:xfrm>
        </p:spPr>
        <p:txBody>
          <a:bodyPr>
            <a:normAutofit/>
          </a:bodyPr>
          <a:lstStyle>
            <a:lvl1pPr algn="r">
              <a:defRPr sz="3600" baseline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6879" y="1655520"/>
            <a:ext cx="4040188" cy="479822"/>
          </a:xfrm>
        </p:spPr>
        <p:txBody>
          <a:bodyPr anchor="b"/>
          <a:lstStyle>
            <a:lvl1pPr marL="0" indent="0" algn="ctr">
              <a:buNone/>
              <a:defRPr sz="2400" b="1">
                <a:solidFill>
                  <a:srgbClr val="002060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36879" y="2266340"/>
            <a:ext cx="4040188" cy="2137871"/>
          </a:xfrm>
        </p:spPr>
        <p:txBody>
          <a:bodyPr/>
          <a:lstStyle>
            <a:lvl1pPr algn="ctr">
              <a:defRPr sz="2400">
                <a:solidFill>
                  <a:srgbClr val="002060"/>
                </a:solidFill>
              </a:defRPr>
            </a:lvl1pPr>
            <a:lvl2pPr algn="ctr">
              <a:defRPr sz="2000">
                <a:solidFill>
                  <a:srgbClr val="002060"/>
                </a:solidFill>
              </a:defRPr>
            </a:lvl2pPr>
            <a:lvl3pPr algn="ctr">
              <a:defRPr sz="1800">
                <a:solidFill>
                  <a:srgbClr val="002060"/>
                </a:solidFill>
              </a:defRPr>
            </a:lvl3pPr>
            <a:lvl4pPr algn="ctr">
              <a:defRPr sz="1600">
                <a:solidFill>
                  <a:srgbClr val="002060"/>
                </a:solidFill>
              </a:defRPr>
            </a:lvl4pPr>
            <a:lvl5pPr algn="ctr">
              <a:defRPr sz="1600">
                <a:solidFill>
                  <a:srgbClr val="002060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72000" y="1655520"/>
            <a:ext cx="4041775" cy="479822"/>
          </a:xfrm>
        </p:spPr>
        <p:txBody>
          <a:bodyPr anchor="b"/>
          <a:lstStyle>
            <a:lvl1pPr marL="0" indent="0" algn="ctr">
              <a:buNone/>
              <a:defRPr sz="2400" b="1">
                <a:solidFill>
                  <a:srgbClr val="002060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72000" y="2266340"/>
            <a:ext cx="4041775" cy="2137871"/>
          </a:xfrm>
        </p:spPr>
        <p:txBody>
          <a:bodyPr/>
          <a:lstStyle>
            <a:lvl1pPr algn="ctr">
              <a:defRPr sz="2400">
                <a:solidFill>
                  <a:srgbClr val="002060"/>
                </a:solidFill>
              </a:defRPr>
            </a:lvl1pPr>
            <a:lvl2pPr algn="ctr">
              <a:defRPr sz="2000">
                <a:solidFill>
                  <a:srgbClr val="002060"/>
                </a:solidFill>
              </a:defRPr>
            </a:lvl2pPr>
            <a:lvl3pPr algn="ctr">
              <a:defRPr sz="1800">
                <a:solidFill>
                  <a:srgbClr val="002060"/>
                </a:solidFill>
              </a:defRPr>
            </a:lvl3pPr>
            <a:lvl4pPr algn="ctr">
              <a:defRPr sz="1600">
                <a:solidFill>
                  <a:srgbClr val="002060"/>
                </a:solidFill>
              </a:defRPr>
            </a:lvl4pPr>
            <a:lvl5pPr algn="ctr">
              <a:defRPr sz="1600">
                <a:solidFill>
                  <a:srgbClr val="002060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CB5E75-176F-4A78-882A-8D2031C6BCE3}" type="datetime1">
              <a:rPr lang="en-US" smtClean="0"/>
              <a:t>6/13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CCC60-E8CD-4174-8B1A-7DF615B22E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29119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7FEA9A-BEB3-4C92-B254-58C4DAA6AEAB}" type="datetime1">
              <a:rPr lang="en-US" smtClean="0"/>
              <a:t>6/13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CCC60-E8CD-4174-8B1A-7DF615B22E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977311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F45E18-2CA6-42F0-870B-6D9EF06F58DD}" type="datetime1">
              <a:rPr lang="en-US" smtClean="0"/>
              <a:t>6/13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CCC60-E8CD-4174-8B1A-7DF615B22E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186407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46544E-9D28-4514-8B1C-00D28FE50D45}" type="datetime1">
              <a:rPr lang="en-US" smtClean="0"/>
              <a:t>6/13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CCC60-E8CD-4174-8B1A-7DF615B22E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44526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image" Target="../media/image1.jpg"/><Relationship Id="rId2" Type="http://schemas.openxmlformats.org/officeDocument/2006/relationships/slideLayout" Target="../slideLayouts/slideLayout14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22.xml"/><Relationship Id="rId19" Type="http://schemas.openxmlformats.org/officeDocument/2006/relationships/image" Target="../media/image5.emf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288F20A-B7EE-4295-9458-9A4737517536}" type="datetime1">
              <a:rPr lang="en-US" smtClean="0"/>
              <a:t>6/13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82CCC60-E8CD-4174-8B1A-7DF615B22EE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D07D83C-363B-4338-B99E-91525119F2FF}"/>
              </a:ext>
            </a:extLst>
          </p:cNvPr>
          <p:cNvSpPr txBox="1"/>
          <p:nvPr userDrawn="1"/>
        </p:nvSpPr>
        <p:spPr>
          <a:xfrm>
            <a:off x="-9150" y="5213747"/>
            <a:ext cx="838962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>
                <a:solidFill>
                  <a:schemeClr val="bg1">
                    <a:lumMod val="65000"/>
                  </a:schemeClr>
                </a:solidFill>
              </a:rPr>
              <a:t>This presentation uses a free template provided by FPPT.com</a:t>
            </a:r>
          </a:p>
          <a:p>
            <a:r>
              <a:rPr lang="en-US" sz="1400">
                <a:solidFill>
                  <a:schemeClr val="bg1">
                    <a:lumMod val="65000"/>
                  </a:schemeClr>
                </a:solidFill>
              </a:rPr>
              <a:t>www.free-power-point-templates.com</a:t>
            </a:r>
          </a:p>
        </p:txBody>
      </p:sp>
    </p:spTree>
    <p:extLst>
      <p:ext uri="{BB962C8B-B14F-4D97-AF65-F5344CB8AC3E}">
        <p14:creationId xmlns:p14="http://schemas.microsoft.com/office/powerpoint/2010/main" val="19440393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7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A6172CDB-83D0-4177-A5FA-1643E534D2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3" name="think-cell Slide" r:id="rId18" imgW="395" imgH="394" progId="TCLayout.ActiveDocument.1">
                  <p:embed/>
                </p:oleObj>
              </mc:Choice>
              <mc:Fallback>
                <p:oleObj name="think-cell Slide" r:id="rId18" imgW="395" imgH="39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A6172CDB-83D0-4177-A5FA-1643E534D2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7CE890C9-102B-4982-8C7B-E9B0884ECF91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4DE3B68-9AB6-4905-9D71-3D59CCF6D1C3}" type="datetime1">
              <a:rPr lang="en-US" smtClean="0"/>
              <a:t>6/13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82CCC60-E8CD-4174-8B1A-7DF615B22EE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D07D83C-363B-4338-B99E-91525119F2FF}"/>
              </a:ext>
            </a:extLst>
          </p:cNvPr>
          <p:cNvSpPr txBox="1"/>
          <p:nvPr userDrawn="1"/>
        </p:nvSpPr>
        <p:spPr>
          <a:xfrm>
            <a:off x="-9150" y="5213747"/>
            <a:ext cx="838962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>
                <a:solidFill>
                  <a:schemeClr val="bg1">
                    <a:lumMod val="65000"/>
                  </a:schemeClr>
                </a:solidFill>
              </a:rPr>
              <a:t>This presentation uses a free template provided by FPPT.com</a:t>
            </a:r>
          </a:p>
          <a:p>
            <a:r>
              <a:rPr lang="en-US" sz="1400">
                <a:solidFill>
                  <a:schemeClr val="bg1">
                    <a:lumMod val="65000"/>
                  </a:schemeClr>
                </a:solidFill>
              </a:rPr>
              <a:t>www.free-power-point-templates.com</a:t>
            </a:r>
          </a:p>
        </p:txBody>
      </p:sp>
    </p:spTree>
    <p:extLst>
      <p:ext uri="{BB962C8B-B14F-4D97-AF65-F5344CB8AC3E}">
        <p14:creationId xmlns:p14="http://schemas.microsoft.com/office/powerpoint/2010/main" val="24401274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4.xml"/><Relationship Id="rId7" Type="http://schemas.openxmlformats.org/officeDocument/2006/relationships/oleObject" Target="../embeddings/oleObject2.bin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6.xml"/><Relationship Id="rId4" Type="http://schemas.openxmlformats.org/officeDocument/2006/relationships/tags" Target="../tags/tag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6.png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2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IN" dirty="0" smtClean="0"/>
              <a:t>Project Presentation</a:t>
            </a:r>
            <a:endParaRPr lang="en-IN" sz="160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CCC60-E8CD-4174-8B1A-7DF615B22EEF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42500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r"/>
            <a:r>
              <a:rPr lang="en-IN" sz="3200" dirty="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Auroc Curves</a:t>
            </a:r>
            <a:endParaRPr lang="en-IN" sz="3200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1670" y="1655520"/>
            <a:ext cx="3479469" cy="3077397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0" name="Content Placeholder 9"/>
          <p:cNvSpPr>
            <a:spLocks noGrp="1"/>
          </p:cNvSpPr>
          <p:nvPr>
            <p:ph sz="half" idx="2"/>
          </p:nvPr>
        </p:nvSpPr>
        <p:spPr>
          <a:xfrm>
            <a:off x="4724705" y="1784927"/>
            <a:ext cx="4038601" cy="2771987"/>
          </a:xfrm>
        </p:spPr>
        <p:txBody>
          <a:bodyPr>
            <a:normAutofit fontScale="70000" lnSpcReduction="20000"/>
          </a:bodyPr>
          <a:lstStyle/>
          <a:p>
            <a:pPr algn="just"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en-IN" dirty="0" smtClean="0"/>
              <a:t>In terms of AUROC scores Gradient Boost (AUC=0.76) is the best performing model followed by XGBOOST.</a:t>
            </a:r>
          </a:p>
          <a:p>
            <a:pPr algn="just"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en-IN" dirty="0"/>
              <a:t>Although in terms of accuracy Random Forest algorithm performed best, accuracy cannot be the sole performance metric for imbalanced datasets</a:t>
            </a:r>
            <a:r>
              <a:rPr lang="en-IN" dirty="0" smtClean="0"/>
              <a:t>.</a:t>
            </a:r>
            <a:endParaRPr lang="en-IN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CCC60-E8CD-4174-8B1A-7DF615B22EEF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73164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655770" y="128470"/>
            <a:ext cx="4988247" cy="572644"/>
          </a:xfrm>
        </p:spPr>
        <p:txBody>
          <a:bodyPr>
            <a:normAutofit fontScale="90000"/>
          </a:bodyPr>
          <a:lstStyle/>
          <a:p>
            <a:pPr algn="r"/>
            <a:r>
              <a:rPr lang="en-IN" b="1" dirty="0" smtClean="0">
                <a:solidFill>
                  <a:schemeClr val="tx1"/>
                </a:solidFill>
                <a:effectLst/>
              </a:rPr>
              <a:t>		</a:t>
            </a:r>
            <a:r>
              <a:rPr lang="en-IN" dirty="0" smtClean="0"/>
              <a:t>Conclusions</a:t>
            </a:r>
            <a:endParaRPr lang="en-IN" dirty="0"/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>
          <a:xfrm>
            <a:off x="1823310" y="891995"/>
            <a:ext cx="7177135" cy="3817625"/>
          </a:xfrm>
        </p:spPr>
        <p:txBody>
          <a:bodyPr>
            <a:normAutofit fontScale="92500" lnSpcReduction="20000"/>
          </a:bodyPr>
          <a:lstStyle/>
          <a:p>
            <a:pPr algn="just">
              <a:spcBef>
                <a:spcPts val="1200"/>
              </a:spcBef>
            </a:pPr>
            <a:r>
              <a:rPr lang="en-IN" sz="2400" b="1" dirty="0" smtClean="0">
                <a:solidFill>
                  <a:schemeClr val="tx1"/>
                </a:solidFill>
              </a:rPr>
              <a:t>Model Performance </a:t>
            </a:r>
            <a:r>
              <a:rPr lang="en-IN" sz="2400" dirty="0" smtClean="0">
                <a:solidFill>
                  <a:schemeClr val="tx1"/>
                </a:solidFill>
              </a:rPr>
              <a:t>: For an imbalanced dataset, classification accuracy cannot be the sole metric for evaluating the performance of the model. In this project AUC Score, Precision, Recall and F1-Scores have proved to be better performance metrics.</a:t>
            </a:r>
            <a:endParaRPr lang="en-IN" sz="2400" dirty="0">
              <a:solidFill>
                <a:schemeClr val="tx1"/>
              </a:solidFill>
            </a:endParaRPr>
          </a:p>
          <a:p>
            <a:pPr algn="just">
              <a:spcBef>
                <a:spcPts val="1200"/>
              </a:spcBef>
            </a:pPr>
            <a:r>
              <a:rPr lang="en-IN" sz="2400" b="1" dirty="0" smtClean="0">
                <a:solidFill>
                  <a:schemeClr val="tx1"/>
                </a:solidFill>
              </a:rPr>
              <a:t>Feature Importance:</a:t>
            </a:r>
            <a:r>
              <a:rPr lang="en-IN" sz="2400" dirty="0">
                <a:solidFill>
                  <a:schemeClr val="tx1"/>
                </a:solidFill>
              </a:rPr>
              <a:t> </a:t>
            </a:r>
            <a:r>
              <a:rPr lang="en-IN" sz="2400" dirty="0" smtClean="0">
                <a:solidFill>
                  <a:schemeClr val="tx1"/>
                </a:solidFill>
              </a:rPr>
              <a:t>Age, Job, Education, Type of Contact and Previous Campaign Details proved to be very important.</a:t>
            </a:r>
          </a:p>
          <a:p>
            <a:pPr algn="just">
              <a:spcBef>
                <a:spcPts val="1200"/>
              </a:spcBef>
            </a:pPr>
            <a:r>
              <a:rPr lang="en-IN" sz="2400" b="1" dirty="0" smtClean="0">
                <a:solidFill>
                  <a:schemeClr val="tx1"/>
                </a:solidFill>
              </a:rPr>
              <a:t>Recommendations : </a:t>
            </a:r>
            <a:r>
              <a:rPr lang="en-IN" sz="2400" dirty="0" smtClean="0">
                <a:solidFill>
                  <a:schemeClr val="tx1"/>
                </a:solidFill>
              </a:rPr>
              <a:t>Future Campaigns should focus more on people who were contacted earlier. Also focusing on students and old people can improve the number of subscriptions.</a:t>
            </a:r>
            <a:endParaRPr lang="en-IN" sz="2400" dirty="0">
              <a:solidFill>
                <a:schemeClr val="tx1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CCC60-E8CD-4174-8B1A-7DF615B22EEF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90317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IN" dirty="0" smtClean="0"/>
              <a:t>QUESTIONS!</a:t>
            </a:r>
            <a:endParaRPr lang="en-IN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CCC60-E8CD-4174-8B1A-7DF615B22EEF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79460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1425" y="1579167"/>
            <a:ext cx="6260905" cy="1985165"/>
          </a:xfrm>
        </p:spPr>
        <p:txBody>
          <a:bodyPr>
            <a:normAutofit/>
          </a:bodyPr>
          <a:lstStyle/>
          <a:p>
            <a:pPr algn="ctr"/>
            <a:r>
              <a:rPr lang="en-US" sz="2800" dirty="0" smtClean="0"/>
              <a:t>Evaluation Of Classification Algorithms For Bank Marketing Response Prediction </a:t>
            </a:r>
            <a:endParaRPr lang="en-US" sz="28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CCC60-E8CD-4174-8B1A-7DF615B22EEF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9203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12683E-C14B-4DC2-802F-0EE9305C977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7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12683E-C14B-4DC2-802F-0EE9305C97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17BE06B-9311-4E43-9B1F-3A9C696634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/>
              <a:t>Objective</a:t>
            </a:r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F27CAFD-F44B-4AA7-AF98-9ECD2293AE0C}"/>
              </a:ext>
            </a:extLst>
          </p:cNvPr>
          <p:cNvSpPr/>
          <p:nvPr/>
        </p:nvSpPr>
        <p:spPr>
          <a:xfrm>
            <a:off x="296260" y="2131566"/>
            <a:ext cx="3817625" cy="21082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US" dirty="0"/>
              <a:t>Increasing number of marketing campaigns has reduced the effects on the general public.</a:t>
            </a: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US" dirty="0"/>
              <a:t>Positive response rates to mass campaigns are typically very low as most people see direct marketing as an intrusion to their privacy. </a:t>
            </a:r>
          </a:p>
        </p:txBody>
      </p:sp>
      <p:grpSp>
        <p:nvGrpSpPr>
          <p:cNvPr id="8" name="Header2 8">
            <a:extLst>
              <a:ext uri="{FF2B5EF4-FFF2-40B4-BE49-F238E27FC236}">
                <a16:creationId xmlns:a16="http://schemas.microsoft.com/office/drawing/2014/main" id="{B2A12362-B1B1-46F3-8681-3A7560FFDAD0}"/>
              </a:ext>
            </a:extLst>
          </p:cNvPr>
          <p:cNvGrpSpPr>
            <a:grpSpLocks/>
          </p:cNvGrpSpPr>
          <p:nvPr>
            <p:custDataLst>
              <p:tags r:id="rId3"/>
            </p:custDataLst>
          </p:nvPr>
        </p:nvGrpSpPr>
        <p:grpSpPr>
          <a:xfrm>
            <a:off x="356880" y="1473320"/>
            <a:ext cx="3757005" cy="358205"/>
            <a:chOff x="457200" y="1981904"/>
            <a:chExt cx="3048000" cy="295466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5293533F-F26B-4173-9817-A297A0A15D63}"/>
                </a:ext>
              </a:extLst>
            </p:cNvPr>
            <p:cNvSpPr txBox="1"/>
            <p:nvPr/>
          </p:nvSpPr>
          <p:spPr>
            <a:xfrm>
              <a:off x="457200" y="1981904"/>
              <a:ext cx="3048000" cy="295466"/>
            </a:xfrm>
            <a:prstGeom prst="rect">
              <a:avLst/>
            </a:prstGeom>
          </p:spPr>
          <p:txBody>
            <a:bodyPr vert="horz" lIns="0" tIns="0" rIns="0" bIns="18288" rtlCol="0" anchor="b">
              <a:spAutoFit/>
            </a:bodyPr>
            <a:lstStyle>
              <a:lvl1pPr marL="342900" lvl="0" indent="-342900">
                <a:spcBef>
                  <a:spcPct val="20000"/>
                </a:spcBef>
                <a:buFont typeface="Arial" pitchFamily="34" charset="0"/>
                <a:buChar char="•"/>
                <a:defRPr sz="3200"/>
              </a:lvl1pPr>
              <a:lvl2pPr marL="742950" lvl="1" indent="-285750">
                <a:spcBef>
                  <a:spcPct val="20000"/>
                </a:spcBef>
                <a:buFont typeface="Arial" pitchFamily="34" charset="0"/>
                <a:buChar char="–"/>
                <a:defRPr sz="2800"/>
              </a:lvl2pPr>
              <a:lvl3pPr marL="1143000" lvl="2" indent="-228600">
                <a:spcBef>
                  <a:spcPct val="20000"/>
                </a:spcBef>
                <a:buFont typeface="Arial" pitchFamily="34" charset="0"/>
                <a:buChar char="•"/>
                <a:defRPr sz="2400"/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sz="2000"/>
              </a:lvl4pPr>
              <a:lvl5pPr marL="2057400" lvl="4" indent="-228600">
                <a:spcBef>
                  <a:spcPct val="20000"/>
                </a:spcBef>
                <a:buFont typeface="Arial" pitchFamily="34" charset="0"/>
                <a:buChar char="»"/>
                <a:defRPr sz="200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 marL="0" indent="0">
                <a:buNone/>
              </a:pPr>
              <a:r>
                <a:rPr lang="en-US" sz="1800" b="1" dirty="0">
                  <a:solidFill>
                    <a:schemeClr val="dk1"/>
                  </a:solidFill>
                </a:rPr>
                <a:t>Problem Statement</a:t>
              </a:r>
            </a:p>
          </p:txBody>
        </p:sp>
        <p:cxnSp>
          <p:nvCxnSpPr>
            <p:cNvPr id="7" name="Connector: Elbow 6">
              <a:extLst>
                <a:ext uri="{FF2B5EF4-FFF2-40B4-BE49-F238E27FC236}">
                  <a16:creationId xmlns:a16="http://schemas.microsoft.com/office/drawing/2014/main" id="{20B02C00-A7E2-4C20-975E-1A4CF6A3EFF0}"/>
                </a:ext>
              </a:extLst>
            </p:cNvPr>
            <p:cNvCxnSpPr/>
            <p:nvPr/>
          </p:nvCxnSpPr>
          <p:spPr>
            <a:xfrm>
              <a:off x="457200" y="2277369"/>
              <a:ext cx="3048000" cy="0"/>
            </a:xfrm>
            <a:prstGeom prst="bentConnector3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" name="DoubleChevron3 13">
            <a:extLst>
              <a:ext uri="{FF2B5EF4-FFF2-40B4-BE49-F238E27FC236}">
                <a16:creationId xmlns:a16="http://schemas.microsoft.com/office/drawing/2014/main" id="{513D8332-66E4-4141-873F-B3FEBB0831B7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273855" y="1572852"/>
            <a:ext cx="450850" cy="508000"/>
            <a:chOff x="1270000" y="1270000"/>
            <a:chExt cx="450850" cy="508000"/>
          </a:xfrm>
        </p:grpSpPr>
        <p:sp>
          <p:nvSpPr>
            <p:cNvPr id="11" name="ChevronA1">
              <a:extLst>
                <a:ext uri="{FF2B5EF4-FFF2-40B4-BE49-F238E27FC236}">
                  <a16:creationId xmlns:a16="http://schemas.microsoft.com/office/drawing/2014/main" id="{0A2BD835-3060-4055-BC6E-D52D4B35B56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320800"/>
              <a:ext cx="238760" cy="406400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ChevronB1">
              <a:extLst>
                <a:ext uri="{FF2B5EF4-FFF2-40B4-BE49-F238E27FC236}">
                  <a16:creationId xmlns:a16="http://schemas.microsoft.com/office/drawing/2014/main" id="{5B727EDA-5222-441C-B654-E71A7982214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422400" y="1270000"/>
              <a:ext cx="298450" cy="508000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4"/>
            </a:solidFill>
            <a:ln w="2540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E2D56B5C-09ED-495B-90E4-B8D8FE1EB762}"/>
              </a:ext>
            </a:extLst>
          </p:cNvPr>
          <p:cNvSpPr/>
          <p:nvPr/>
        </p:nvSpPr>
        <p:spPr>
          <a:xfrm>
            <a:off x="4877410" y="2131566"/>
            <a:ext cx="3817625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GB" b="1" dirty="0"/>
              <a:t>Understand the success of marketing campaign </a:t>
            </a:r>
            <a:r>
              <a:rPr lang="en-GB" dirty="0" smtClean="0"/>
              <a:t>by </a:t>
            </a:r>
            <a:r>
              <a:rPr lang="en-GB" dirty="0"/>
              <a:t>building a classifier to predict whether or not a client will subscribe to a Term </a:t>
            </a:r>
            <a:r>
              <a:rPr lang="en-GB" dirty="0" smtClean="0"/>
              <a:t>Deposit.</a:t>
            </a:r>
            <a:endParaRPr lang="en-GB" dirty="0"/>
          </a:p>
        </p:txBody>
      </p:sp>
      <p:grpSp>
        <p:nvGrpSpPr>
          <p:cNvPr id="17" name="Header2 8">
            <a:extLst>
              <a:ext uri="{FF2B5EF4-FFF2-40B4-BE49-F238E27FC236}">
                <a16:creationId xmlns:a16="http://schemas.microsoft.com/office/drawing/2014/main" id="{D50B85B0-F32C-4AFF-89DB-4F33978AEC91}"/>
              </a:ext>
            </a:extLst>
          </p:cNvPr>
          <p:cNvGrpSpPr>
            <a:grpSpLocks/>
          </p:cNvGrpSpPr>
          <p:nvPr>
            <p:custDataLst>
              <p:tags r:id="rId5"/>
            </p:custDataLst>
          </p:nvPr>
        </p:nvGrpSpPr>
        <p:grpSpPr>
          <a:xfrm>
            <a:off x="4938030" y="1536059"/>
            <a:ext cx="3757005" cy="295466"/>
            <a:chOff x="457200" y="2033655"/>
            <a:chExt cx="3048000" cy="243716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B06BA484-C482-4F91-A81C-42A571CE3CB6}"/>
                </a:ext>
              </a:extLst>
            </p:cNvPr>
            <p:cNvSpPr txBox="1"/>
            <p:nvPr/>
          </p:nvSpPr>
          <p:spPr>
            <a:xfrm>
              <a:off x="457200" y="2033655"/>
              <a:ext cx="3048000" cy="243716"/>
            </a:xfrm>
            <a:prstGeom prst="rect">
              <a:avLst/>
            </a:prstGeom>
          </p:spPr>
          <p:txBody>
            <a:bodyPr vert="horz" lIns="0" tIns="0" rIns="0" bIns="18288" rtlCol="0" anchor="b">
              <a:spAutoFit/>
            </a:bodyPr>
            <a:lstStyle>
              <a:lvl1pPr marL="342900" lvl="0" indent="-342900">
                <a:spcBef>
                  <a:spcPct val="20000"/>
                </a:spcBef>
                <a:buFont typeface="Arial" pitchFamily="34" charset="0"/>
                <a:buChar char="•"/>
                <a:defRPr sz="3200"/>
              </a:lvl1pPr>
              <a:lvl2pPr marL="742950" lvl="1" indent="-285750">
                <a:spcBef>
                  <a:spcPct val="20000"/>
                </a:spcBef>
                <a:buFont typeface="Arial" pitchFamily="34" charset="0"/>
                <a:buChar char="–"/>
                <a:defRPr sz="2800"/>
              </a:lvl2pPr>
              <a:lvl3pPr marL="1143000" lvl="2" indent="-228600">
                <a:spcBef>
                  <a:spcPct val="20000"/>
                </a:spcBef>
                <a:buFont typeface="Arial" pitchFamily="34" charset="0"/>
                <a:buChar char="•"/>
                <a:defRPr sz="2400"/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sz="2000"/>
              </a:lvl4pPr>
              <a:lvl5pPr marL="2057400" lvl="4" indent="-228600">
                <a:spcBef>
                  <a:spcPct val="20000"/>
                </a:spcBef>
                <a:buFont typeface="Arial" pitchFamily="34" charset="0"/>
                <a:buChar char="»"/>
                <a:defRPr sz="200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 marL="0" indent="0">
                <a:buNone/>
              </a:pPr>
              <a:r>
                <a:rPr lang="en-US" sz="1800" b="1" dirty="0" smtClean="0">
                  <a:solidFill>
                    <a:schemeClr val="dk1"/>
                  </a:solidFill>
                </a:rPr>
                <a:t>Goal</a:t>
              </a:r>
              <a:endParaRPr lang="en-US" sz="1800" b="1" dirty="0">
                <a:solidFill>
                  <a:schemeClr val="dk1"/>
                </a:solidFill>
              </a:endParaRPr>
            </a:p>
          </p:txBody>
        </p:sp>
        <p:cxnSp>
          <p:nvCxnSpPr>
            <p:cNvPr id="19" name="Connector: Elbow 18">
              <a:extLst>
                <a:ext uri="{FF2B5EF4-FFF2-40B4-BE49-F238E27FC236}">
                  <a16:creationId xmlns:a16="http://schemas.microsoft.com/office/drawing/2014/main" id="{BDF1A39F-470D-4B0F-B221-0F75536D4051}"/>
                </a:ext>
              </a:extLst>
            </p:cNvPr>
            <p:cNvCxnSpPr/>
            <p:nvPr/>
          </p:nvCxnSpPr>
          <p:spPr>
            <a:xfrm>
              <a:off x="457200" y="2277369"/>
              <a:ext cx="3048000" cy="0"/>
            </a:xfrm>
            <a:prstGeom prst="bentConnector3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CCC60-E8CD-4174-8B1A-7DF615B22EEF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8649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277DA70-F0ED-48C8-8F4C-3E0652B27C0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4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277DA70-F0ED-48C8-8F4C-3E0652B27C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CDD81720-FE3B-4AD8-B885-29CDF3BEB7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5770" y="122386"/>
            <a:ext cx="5344674" cy="871538"/>
          </a:xfrm>
        </p:spPr>
        <p:txBody>
          <a:bodyPr>
            <a:noAutofit/>
          </a:bodyPr>
          <a:lstStyle/>
          <a:p>
            <a:pPr algn="r"/>
            <a:r>
              <a:rPr lang="en-IN" sz="3200" b="0" dirty="0" smtClean="0">
                <a:solidFill>
                  <a:schemeClr val="bg1"/>
                </a:solidFill>
              </a:rPr>
              <a:t>Data Understanding &amp; Exploration</a:t>
            </a:r>
            <a:endParaRPr lang="en-IN" sz="3200" b="0" dirty="0">
              <a:solidFill>
                <a:schemeClr val="bg1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565" y="1319791"/>
            <a:ext cx="4640140" cy="3823709"/>
          </a:xfrm>
        </p:spPr>
        <p:txBody>
          <a:bodyPr>
            <a:normAutofit/>
          </a:bodyPr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IN" sz="1800" b="1" dirty="0"/>
              <a:t>Original Dataset Size: </a:t>
            </a:r>
            <a:r>
              <a:rPr lang="en-IN" sz="1800" dirty="0" smtClean="0"/>
              <a:t>21 features , ~40k sample observations</a:t>
            </a:r>
            <a:endParaRPr lang="en-IN" sz="1800" dirty="0"/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IN" sz="1800" b="1" dirty="0"/>
              <a:t>Data cleaning:</a:t>
            </a:r>
          </a:p>
          <a:p>
            <a:pPr marL="742950" lvl="1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IN" sz="1600" dirty="0"/>
              <a:t>Duplicates, unknowns, duration and a few economic indicators removed</a:t>
            </a:r>
          </a:p>
          <a:p>
            <a:pPr marL="742950" lvl="1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IN" sz="1600" dirty="0"/>
              <a:t>Sparse variables combined(</a:t>
            </a:r>
            <a:r>
              <a:rPr lang="en-IN" sz="1600" dirty="0" err="1"/>
              <a:t>eg</a:t>
            </a:r>
            <a:r>
              <a:rPr lang="en-IN" sz="1600" dirty="0"/>
              <a:t>. ‘Retired’ and ‘Unemployed’ under the job variable combined as ‘no_active_income’)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IN" sz="1800" b="1" dirty="0"/>
              <a:t>After Pre-processing: </a:t>
            </a:r>
            <a:r>
              <a:rPr lang="en-IN" sz="1800" dirty="0" smtClean="0"/>
              <a:t>14 features, ~38k sample observations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IN" sz="1800" dirty="0" smtClean="0"/>
              <a:t>Low Response Rate (Yes : 11.3% , No: 88.7%)</a:t>
            </a:r>
            <a:endParaRPr lang="en-IN" sz="1800" dirty="0"/>
          </a:p>
          <a:p>
            <a:pPr>
              <a:spcBef>
                <a:spcPts val="600"/>
              </a:spcBef>
            </a:pPr>
            <a:endParaRPr lang="en-IN" sz="1800" dirty="0"/>
          </a:p>
          <a:p>
            <a:pPr>
              <a:spcBef>
                <a:spcPts val="600"/>
              </a:spcBef>
            </a:pPr>
            <a:endParaRPr lang="en-IN" sz="1800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7368"/>
          <a:stretch/>
        </p:blipFill>
        <p:spPr>
          <a:xfrm>
            <a:off x="6302891" y="1363994"/>
            <a:ext cx="1527050" cy="3523793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CCC60-E8CD-4174-8B1A-7DF615B22EEF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27000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/>
              <a:t>Data visualization – Education &amp; </a:t>
            </a:r>
            <a:r>
              <a:rPr lang="en-GB" dirty="0" smtClean="0"/>
              <a:t>Job 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96260" y="1405958"/>
            <a:ext cx="4040188" cy="479822"/>
          </a:xfrm>
        </p:spPr>
        <p:txBody>
          <a:bodyPr/>
          <a:lstStyle/>
          <a:p>
            <a:r>
              <a:rPr lang="en-IN" dirty="0" smtClean="0"/>
              <a:t>Data by Job Type</a:t>
            </a:r>
            <a:endParaRPr lang="en-IN" dirty="0"/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sz="half" idx="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705" y="1960930"/>
            <a:ext cx="4040188" cy="2116288"/>
          </a:xfrm>
          <a:ln>
            <a:solidFill>
              <a:schemeClr val="tx1"/>
            </a:solidFill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821967" y="1405958"/>
            <a:ext cx="4041775" cy="479822"/>
          </a:xfrm>
        </p:spPr>
        <p:txBody>
          <a:bodyPr/>
          <a:lstStyle/>
          <a:p>
            <a:r>
              <a:rPr lang="en-IN" dirty="0" smtClean="0"/>
              <a:t>Data by Education Level</a:t>
            </a:r>
            <a:endParaRPr lang="en-IN" dirty="0"/>
          </a:p>
        </p:txBody>
      </p:sp>
      <p:pic>
        <p:nvPicPr>
          <p:cNvPr id="8" name="Content Placeholder 7"/>
          <p:cNvPicPr>
            <a:picLocks noGrp="1" noChangeAspect="1"/>
          </p:cNvPicPr>
          <p:nvPr>
            <p:ph sz="quarter" idx="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24726" y="1960930"/>
            <a:ext cx="3436256" cy="2136775"/>
          </a:xfrm>
          <a:ln>
            <a:solidFill>
              <a:schemeClr val="tx1"/>
            </a:solidFill>
          </a:ln>
        </p:spPr>
      </p:pic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CCC60-E8CD-4174-8B1A-7DF615B22EEF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4" name="TextBox 3"/>
          <p:cNvSpPr txBox="1"/>
          <p:nvPr/>
        </p:nvSpPr>
        <p:spPr>
          <a:xfrm>
            <a:off x="152705" y="4244043"/>
            <a:ext cx="441929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400" dirty="0" smtClean="0"/>
              <a:t>People with no active income were more inclined to purchase the product. </a:t>
            </a:r>
            <a:endParaRPr lang="en-IN" sz="1400" dirty="0"/>
          </a:p>
        </p:txBody>
      </p:sp>
      <p:sp>
        <p:nvSpPr>
          <p:cNvPr id="10" name="TextBox 9"/>
          <p:cNvSpPr txBox="1"/>
          <p:nvPr/>
        </p:nvSpPr>
        <p:spPr>
          <a:xfrm>
            <a:off x="4732979" y="4234282"/>
            <a:ext cx="448388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400" dirty="0" smtClean="0"/>
              <a:t>Mostly customers with a university degree purchased the product indicating a complex product description.</a:t>
            </a:r>
            <a:endParaRPr lang="en-IN" sz="1400" dirty="0"/>
          </a:p>
        </p:txBody>
      </p:sp>
    </p:spTree>
    <p:extLst>
      <p:ext uri="{BB962C8B-B14F-4D97-AF65-F5344CB8AC3E}">
        <p14:creationId xmlns:p14="http://schemas.microsoft.com/office/powerpoint/2010/main" val="7833661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IN" sz="3200" dirty="0" smtClean="0"/>
              <a:t>Data Transformation</a:t>
            </a:r>
            <a:endParaRPr lang="en-IN" sz="32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6575" y="1333792"/>
            <a:ext cx="4040188" cy="479822"/>
          </a:xfrm>
        </p:spPr>
        <p:txBody>
          <a:bodyPr/>
          <a:lstStyle/>
          <a:p>
            <a:r>
              <a:rPr lang="en-IN" dirty="0" smtClean="0"/>
              <a:t>Low Response Rate</a:t>
            </a:r>
            <a:endParaRPr lang="en-IN" dirty="0"/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sz="half" idx="2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303" y="2113635"/>
            <a:ext cx="4401460" cy="2258063"/>
          </a:xfrm>
          <a:ln>
            <a:solidFill>
              <a:schemeClr val="tx1"/>
            </a:solidFill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4973" y="1710166"/>
            <a:ext cx="4041775" cy="479822"/>
          </a:xfrm>
        </p:spPr>
        <p:txBody>
          <a:bodyPr>
            <a:noAutofit/>
          </a:bodyPr>
          <a:lstStyle/>
          <a:p>
            <a:r>
              <a:rPr lang="en-IN" dirty="0" smtClean="0"/>
              <a:t>One Hot Encoding and Oversampling</a:t>
            </a:r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CCC60-E8CD-4174-8B1A-7DF615B22EEF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53260" y="2571750"/>
            <a:ext cx="4041775" cy="2137871"/>
          </a:xfrm>
        </p:spPr>
        <p:txBody>
          <a:bodyPr>
            <a:normAutofit/>
          </a:bodyPr>
          <a:lstStyle/>
          <a:p>
            <a:pPr algn="l"/>
            <a:r>
              <a:rPr lang="en-IN" sz="1600" dirty="0">
                <a:solidFill>
                  <a:schemeClr val="tx1"/>
                </a:solidFill>
              </a:rPr>
              <a:t>One Hot Encoding was used to transform categorical variables. </a:t>
            </a:r>
          </a:p>
          <a:p>
            <a:pPr algn="l"/>
            <a:r>
              <a:rPr lang="en-IN" sz="1600" dirty="0">
                <a:solidFill>
                  <a:schemeClr val="tx1"/>
                </a:solidFill>
              </a:rPr>
              <a:t>To handle data imbalance problem, oversampling technique was used. </a:t>
            </a:r>
          </a:p>
        </p:txBody>
      </p:sp>
    </p:spTree>
    <p:extLst>
      <p:ext uri="{BB962C8B-B14F-4D97-AF65-F5344CB8AC3E}">
        <p14:creationId xmlns:p14="http://schemas.microsoft.com/office/powerpoint/2010/main" val="38139776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00000000-0008-0000-0100-000011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0270501"/>
              </p:ext>
            </p:extLst>
          </p:nvPr>
        </p:nvGraphicFramePr>
        <p:xfrm>
          <a:off x="256697" y="1409861"/>
          <a:ext cx="4074459" cy="28145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4716045" y="1409861"/>
            <a:ext cx="4145056" cy="11310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 algn="just">
              <a:buFont typeface="Arial" panose="020B0604020202020204" pitchFamily="34" charset="0"/>
              <a:buChar char="•"/>
            </a:pPr>
            <a:r>
              <a:rPr lang="en-IN" sz="1350" b="1" dirty="0"/>
              <a:t>Imbalanced Dataset </a:t>
            </a:r>
            <a:r>
              <a:rPr lang="en-IN" sz="1350" dirty="0"/>
              <a:t>: Data with unequal Target Class distribution ( Yes : 11% , No : 88% </a:t>
            </a:r>
            <a:r>
              <a:rPr lang="en-IN" sz="1350" dirty="0" smtClean="0"/>
              <a:t>)</a:t>
            </a:r>
          </a:p>
          <a:p>
            <a:pPr marL="214313" indent="-214313" algn="just">
              <a:buFont typeface="Arial" panose="020B0604020202020204" pitchFamily="34" charset="0"/>
              <a:buChar char="•"/>
            </a:pPr>
            <a:endParaRPr lang="en-IN" sz="1350" dirty="0"/>
          </a:p>
          <a:p>
            <a:pPr marL="214313" indent="-214313" algn="just">
              <a:buFont typeface="Arial" panose="020B0604020202020204" pitchFamily="34" charset="0"/>
              <a:buChar char="•"/>
            </a:pPr>
            <a:r>
              <a:rPr lang="en-IN" sz="1350" b="1" dirty="0"/>
              <a:t>Balanced Dataset </a:t>
            </a:r>
            <a:r>
              <a:rPr lang="en-IN" sz="1350" dirty="0"/>
              <a:t>: Data with equal distribution of Yes and No classes.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716045" y="2724455"/>
            <a:ext cx="4145056" cy="19620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 algn="just">
              <a:buFont typeface="Arial" panose="020B0604020202020204" pitchFamily="34" charset="0"/>
              <a:buChar char="•"/>
            </a:pPr>
            <a:r>
              <a:rPr lang="en-IN" sz="1350" dirty="0"/>
              <a:t>The Accuracy Score for each model is the average of classification accuracy obtained after performing K-Fold Cross Validation on both the datasets.</a:t>
            </a:r>
          </a:p>
          <a:p>
            <a:pPr marL="214313" indent="-214313" algn="just">
              <a:buFont typeface="Arial" panose="020B0604020202020204" pitchFamily="34" charset="0"/>
              <a:buChar char="•"/>
            </a:pPr>
            <a:endParaRPr lang="en-IN" sz="1350" dirty="0"/>
          </a:p>
          <a:p>
            <a:pPr marL="214313" indent="-214313" algn="just">
              <a:buFont typeface="Arial" panose="020B0604020202020204" pitchFamily="34" charset="0"/>
              <a:buChar char="•"/>
            </a:pPr>
            <a:r>
              <a:rPr lang="en-IN" sz="1350" dirty="0"/>
              <a:t>Balanced Dataset seems to have performed well in most of the cases.</a:t>
            </a:r>
          </a:p>
          <a:p>
            <a:pPr marL="214313" indent="-214313" algn="just">
              <a:buFont typeface="Arial" panose="020B0604020202020204" pitchFamily="34" charset="0"/>
              <a:buChar char="•"/>
            </a:pPr>
            <a:endParaRPr lang="en-IN" sz="1350" dirty="0"/>
          </a:p>
          <a:p>
            <a:pPr marL="214313" indent="-214313" algn="just">
              <a:buFont typeface="Arial" panose="020B0604020202020204" pitchFamily="34" charset="0"/>
              <a:buChar char="•"/>
            </a:pPr>
            <a:r>
              <a:rPr lang="en-IN" sz="1350" dirty="0"/>
              <a:t>In terms of K-Fold cross validation, Logistic Regression and Random Forest models performed the best. </a:t>
            </a: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296260" y="205979"/>
            <a:ext cx="8390540" cy="857250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IN" sz="3200" dirty="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Model Performance Evaluation </a:t>
            </a:r>
          </a:p>
          <a:p>
            <a:pPr algn="r"/>
            <a:endParaRPr lang="en-IN" sz="3200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  <a:p>
            <a:pPr algn="r"/>
            <a:endParaRPr lang="en-IN" sz="3200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CCC60-E8CD-4174-8B1A-7DF615B22EEF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30091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296260" y="205979"/>
            <a:ext cx="8390540" cy="857250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IN" sz="3200" dirty="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Hyper Parameter Tuning  </a:t>
            </a:r>
          </a:p>
          <a:p>
            <a:pPr algn="r"/>
            <a:endParaRPr lang="en-IN" sz="3200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  <a:p>
            <a:pPr algn="r"/>
            <a:endParaRPr lang="en-IN" sz="3200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30570" y="1483207"/>
            <a:ext cx="3970330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 smtClean="0"/>
              <a:t>Model Parameters are learned during training. </a:t>
            </a:r>
            <a:r>
              <a:rPr lang="en-IN" b="1" dirty="0" smtClean="0"/>
              <a:t>Hyper parameters</a:t>
            </a:r>
            <a:r>
              <a:rPr lang="en-IN" dirty="0" smtClean="0"/>
              <a:t> are values that are set before training the model in order to improve the performanc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 smtClean="0"/>
              <a:t>Hyper parameter tuning was performed using Randomised Search CV Method to tune the performance of two models.</a:t>
            </a:r>
            <a:endParaRPr lang="en-IN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93640" y="1675589"/>
            <a:ext cx="2352675" cy="857250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6" name="TextBox 5"/>
          <p:cNvSpPr txBox="1"/>
          <p:nvPr/>
        </p:nvSpPr>
        <p:spPr>
          <a:xfrm>
            <a:off x="4877410" y="3145200"/>
            <a:ext cx="380939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 smtClean="0"/>
              <a:t>The performance of Random Forest has fallen down. The performance of Logistic Regression model seems almost consistent.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CCC60-E8CD-4174-8B1A-7DF615B22EEF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53818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r"/>
            <a:r>
              <a:rPr lang="en-IN" sz="3200" dirty="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Performance Comparison</a:t>
            </a:r>
            <a:endParaRPr lang="en-IN" sz="3200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2694053"/>
              </p:ext>
            </p:extLst>
          </p:nvPr>
        </p:nvGraphicFramePr>
        <p:xfrm>
          <a:off x="296260" y="1419649"/>
          <a:ext cx="2667000" cy="13335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11300">
                  <a:extLst>
                    <a:ext uri="{9D8B030D-6E8A-4147-A177-3AD203B41FA5}">
                      <a16:colId xmlns:a16="http://schemas.microsoft.com/office/drawing/2014/main" val="970101994"/>
                    </a:ext>
                  </a:extLst>
                </a:gridCol>
                <a:gridCol w="1155700">
                  <a:extLst>
                    <a:ext uri="{9D8B030D-6E8A-4147-A177-3AD203B41FA5}">
                      <a16:colId xmlns:a16="http://schemas.microsoft.com/office/drawing/2014/main" val="3089950562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u="none" strike="noStrike" dirty="0">
                          <a:effectLst/>
                        </a:rPr>
                        <a:t>Classification Method</a:t>
                      </a:r>
                      <a:endParaRPr lang="en-IN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u="none" strike="noStrike" dirty="0">
                          <a:effectLst/>
                        </a:rPr>
                        <a:t>F1-Score</a:t>
                      </a:r>
                      <a:endParaRPr lang="en-IN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77219628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u="none" strike="noStrike">
                          <a:effectLst/>
                        </a:rPr>
                        <a:t>Logistic Regression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1100" u="none" strike="noStrike">
                          <a:effectLst/>
                        </a:rPr>
                        <a:t>0.88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35824351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u="none" strike="noStrike">
                          <a:effectLst/>
                        </a:rPr>
                        <a:t>Gradient Boost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1100" u="none" strike="noStrike">
                          <a:effectLst/>
                        </a:rPr>
                        <a:t>0.88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20198091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u="none" strike="noStrike">
                          <a:effectLst/>
                        </a:rPr>
                        <a:t>Extreme Gradient Boost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1100" u="none" strike="noStrike">
                          <a:effectLst/>
                        </a:rPr>
                        <a:t>0.88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43363213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u="none" strike="noStrike">
                          <a:effectLst/>
                        </a:rPr>
                        <a:t>Naïve Bayes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1100" u="none" strike="noStrike" dirty="0">
                          <a:effectLst/>
                        </a:rPr>
                        <a:t>0.86</a:t>
                      </a:r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7267272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u="none" strike="noStrike">
                          <a:effectLst/>
                        </a:rPr>
                        <a:t>Decision Tree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1100" u="none" strike="noStrike">
                          <a:effectLst/>
                        </a:rPr>
                        <a:t>0.84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8587962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u="none" strike="noStrike">
                          <a:effectLst/>
                        </a:rPr>
                        <a:t>Random Forest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1100" u="none" strike="noStrike" dirty="0">
                          <a:effectLst/>
                        </a:rPr>
                        <a:t>0.82</a:t>
                      </a:r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34008990"/>
                  </a:ext>
                </a:extLst>
              </a:tr>
            </a:tbl>
          </a:graphicData>
        </a:graphic>
      </p:graphicFrame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7401794"/>
              </p:ext>
            </p:extLst>
          </p:nvPr>
        </p:nvGraphicFramePr>
        <p:xfrm>
          <a:off x="3312508" y="1419649"/>
          <a:ext cx="2667000" cy="13335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11300">
                  <a:extLst>
                    <a:ext uri="{9D8B030D-6E8A-4147-A177-3AD203B41FA5}">
                      <a16:colId xmlns:a16="http://schemas.microsoft.com/office/drawing/2014/main" val="4022314624"/>
                    </a:ext>
                  </a:extLst>
                </a:gridCol>
                <a:gridCol w="1155700">
                  <a:extLst>
                    <a:ext uri="{9D8B030D-6E8A-4147-A177-3AD203B41FA5}">
                      <a16:colId xmlns:a16="http://schemas.microsoft.com/office/drawing/2014/main" val="1562837691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1" u="none" strike="noStrike" dirty="0">
                          <a:effectLst/>
                        </a:rPr>
                        <a:t>Classification Method</a:t>
                      </a:r>
                      <a:endParaRPr lang="en-IN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u="none" strike="noStrike" dirty="0">
                          <a:effectLst/>
                        </a:rPr>
                        <a:t>Recall(Sensitivity)</a:t>
                      </a:r>
                      <a:endParaRPr lang="en-IN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60348177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u="none" strike="noStrike" dirty="0">
                          <a:effectLst/>
                        </a:rPr>
                        <a:t>Logistic Regression</a:t>
                      </a:r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1100" u="none" strike="noStrike">
                          <a:effectLst/>
                        </a:rPr>
                        <a:t>0.89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86029289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u="none" strike="noStrike">
                          <a:effectLst/>
                        </a:rPr>
                        <a:t>Extreme Gradient Boost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1100" u="none" strike="noStrike">
                          <a:effectLst/>
                        </a:rPr>
                        <a:t>0.89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59478293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u="none" strike="noStrike">
                          <a:effectLst/>
                        </a:rPr>
                        <a:t>Gradient Boost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1100" u="none" strike="noStrike">
                          <a:effectLst/>
                        </a:rPr>
                        <a:t>0.88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93249946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u="none" strike="noStrike">
                          <a:effectLst/>
                        </a:rPr>
                        <a:t>Naïve Bayes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1100" u="none" strike="noStrike" dirty="0">
                          <a:effectLst/>
                        </a:rPr>
                        <a:t>0.85</a:t>
                      </a:r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28039309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u="none" strike="noStrike">
                          <a:effectLst/>
                        </a:rPr>
                        <a:t>Decision Tree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1100" u="none" strike="noStrike">
                          <a:effectLst/>
                        </a:rPr>
                        <a:t>0.84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99799405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u="none" strike="noStrike">
                          <a:effectLst/>
                        </a:rPr>
                        <a:t>Random Forest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1100" u="none" strike="noStrike" dirty="0">
                          <a:effectLst/>
                        </a:rPr>
                        <a:t>0.79</a:t>
                      </a:r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0673405"/>
                  </a:ext>
                </a:extLst>
              </a:tr>
            </a:tbl>
          </a:graphicData>
        </a:graphic>
      </p:graphicFrame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98091625"/>
              </p:ext>
            </p:extLst>
          </p:nvPr>
        </p:nvGraphicFramePr>
        <p:xfrm>
          <a:off x="6251755" y="1419649"/>
          <a:ext cx="2667000" cy="13335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11300">
                  <a:extLst>
                    <a:ext uri="{9D8B030D-6E8A-4147-A177-3AD203B41FA5}">
                      <a16:colId xmlns:a16="http://schemas.microsoft.com/office/drawing/2014/main" val="1393685956"/>
                    </a:ext>
                  </a:extLst>
                </a:gridCol>
                <a:gridCol w="1155700">
                  <a:extLst>
                    <a:ext uri="{9D8B030D-6E8A-4147-A177-3AD203B41FA5}">
                      <a16:colId xmlns:a16="http://schemas.microsoft.com/office/drawing/2014/main" val="3099370421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u="none" strike="noStrike" dirty="0">
                          <a:effectLst/>
                        </a:rPr>
                        <a:t>Classification Method</a:t>
                      </a:r>
                      <a:endParaRPr lang="en-IN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u="none" strike="noStrike" dirty="0">
                          <a:effectLst/>
                        </a:rPr>
                        <a:t>Precision</a:t>
                      </a:r>
                      <a:endParaRPr lang="en-IN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84771516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u="none" strike="noStrike">
                          <a:effectLst/>
                        </a:rPr>
                        <a:t>Gradient Boost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1100" u="none" strike="noStrike">
                          <a:effectLst/>
                        </a:rPr>
                        <a:t>0.88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51903829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u="none" strike="noStrike">
                          <a:effectLst/>
                        </a:rPr>
                        <a:t>Logistic Regression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1100" u="none" strike="noStrike">
                          <a:effectLst/>
                        </a:rPr>
                        <a:t>0.87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08135177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u="none" strike="noStrike">
                          <a:effectLst/>
                        </a:rPr>
                        <a:t>Naïve Bayes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1100" u="none" strike="noStrike">
                          <a:effectLst/>
                        </a:rPr>
                        <a:t>0.87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13907635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u="none" strike="noStrike">
                          <a:effectLst/>
                        </a:rPr>
                        <a:t>Extreme Gradient Boost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1100" u="none" strike="noStrike">
                          <a:effectLst/>
                        </a:rPr>
                        <a:t>0.87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79893491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u="none" strike="noStrike">
                          <a:effectLst/>
                        </a:rPr>
                        <a:t>Random Forest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1100" u="none" strike="noStrike">
                          <a:effectLst/>
                        </a:rPr>
                        <a:t>0.86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59386712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u="none" strike="noStrike">
                          <a:effectLst/>
                        </a:rPr>
                        <a:t>Decision Tree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1100" u="none" strike="noStrike" dirty="0">
                          <a:effectLst/>
                        </a:rPr>
                        <a:t>0.85</a:t>
                      </a:r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33485188"/>
                  </a:ext>
                </a:extLst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296260" y="3029867"/>
            <a:ext cx="8622495" cy="18620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1500"/>
              </a:spcBef>
              <a:buFont typeface="Arial" panose="020B0604020202020204" pitchFamily="34" charset="0"/>
              <a:buChar char="•"/>
            </a:pPr>
            <a:r>
              <a:rPr lang="en-IN" dirty="0" smtClean="0"/>
              <a:t>Logistic Regression, Gradient Boost and XG Boost Models have consistently performed well. </a:t>
            </a:r>
            <a:endParaRPr lang="en-IN" dirty="0"/>
          </a:p>
          <a:p>
            <a:pPr marL="285750" indent="-285750">
              <a:spcBef>
                <a:spcPts val="1500"/>
              </a:spcBef>
              <a:buFont typeface="Arial" panose="020B0604020202020204" pitchFamily="34" charset="0"/>
              <a:buChar char="•"/>
            </a:pPr>
            <a:r>
              <a:rPr lang="en-IN" dirty="0" smtClean="0"/>
              <a:t>These metrics are better when compared to classification accuracy as they take into account the number of positives and negatives.</a:t>
            </a:r>
            <a:endParaRPr lang="en-IN" dirty="0"/>
          </a:p>
          <a:p>
            <a:pPr marL="285750" indent="-285750">
              <a:spcBef>
                <a:spcPts val="1500"/>
              </a:spcBef>
              <a:buFont typeface="Arial" panose="020B0604020202020204" pitchFamily="34" charset="0"/>
              <a:buChar char="•"/>
            </a:pPr>
            <a:r>
              <a:rPr lang="en-IN" dirty="0" smtClean="0"/>
              <a:t>A score close to 1 indicates a good model.</a:t>
            </a:r>
            <a:endParaRPr lang="en-IN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CCC60-E8CD-4174-8B1A-7DF615B22EEF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78109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8mHinYcyPC85VohIapaH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eader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3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eader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XECACB2jGUkSFI.hRcZ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Retrospect</Template>
  <TotalTime>12377</TotalTime>
  <Words>644</Words>
  <Application>Microsoft Office PowerPoint</Application>
  <PresentationFormat>On-screen Show (16:9)</PresentationFormat>
  <Paragraphs>107</Paragraphs>
  <Slides>1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8" baseType="lpstr">
      <vt:lpstr>Arial</vt:lpstr>
      <vt:lpstr>Calibri</vt:lpstr>
      <vt:lpstr>Wingdings</vt:lpstr>
      <vt:lpstr>Office Theme</vt:lpstr>
      <vt:lpstr>1_Office Theme</vt:lpstr>
      <vt:lpstr>think-cell Slide</vt:lpstr>
      <vt:lpstr>Project Presentation</vt:lpstr>
      <vt:lpstr>Evaluation Of Classification Algorithms For Bank Marketing Response Prediction </vt:lpstr>
      <vt:lpstr>Objective</vt:lpstr>
      <vt:lpstr>Data Understanding &amp; Exploration</vt:lpstr>
      <vt:lpstr>Data visualization – Education &amp; Job </vt:lpstr>
      <vt:lpstr>Data Transformation</vt:lpstr>
      <vt:lpstr>PowerPoint Presentation</vt:lpstr>
      <vt:lpstr>PowerPoint Presentation</vt:lpstr>
      <vt:lpstr>Performance Comparison</vt:lpstr>
      <vt:lpstr>Auroc Curves</vt:lpstr>
      <vt:lpstr>  Conclusions</vt:lpstr>
      <vt:lpstr>QUESTIONS!</vt:lpstr>
    </vt:vector>
  </TitlesOfParts>
  <Company>Microso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ulian</dc:creator>
  <cp:lastModifiedBy>Lekha</cp:lastModifiedBy>
  <cp:revision>228</cp:revision>
  <dcterms:created xsi:type="dcterms:W3CDTF">2013-08-21T19:17:07Z</dcterms:created>
  <dcterms:modified xsi:type="dcterms:W3CDTF">2020-06-13T07:24:30Z</dcterms:modified>
</cp:coreProperties>
</file>